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72" r:id="rId2"/>
    <p:sldId id="2147309983" r:id="rId3"/>
    <p:sldId id="2147309914" r:id="rId4"/>
    <p:sldId id="265" r:id="rId5"/>
    <p:sldId id="2147309984" r:id="rId6"/>
    <p:sldId id="277" r:id="rId7"/>
  </p:sldIdLst>
  <p:sldSz cx="12192000" cy="6858000"/>
  <p:notesSz cx="6858000" cy="9144000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428" autoAdjust="0"/>
    <p:restoredTop sz="94660"/>
  </p:normalViewPr>
  <p:slideViewPr>
    <p:cSldViewPr snapToGrid="0">
      <p:cViewPr varScale="1">
        <p:scale>
          <a:sx n="80" d="100"/>
          <a:sy n="80" d="100"/>
        </p:scale>
        <p:origin x="533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71BD0B-4147-450D-B42F-D36336118AEA}" type="datetimeFigureOut">
              <a:rPr lang="es-PE" smtClean="0"/>
              <a:t>28/08/2024</a:t>
            </a:fld>
            <a:endParaRPr lang="es-P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A23BF4-9F65-46AA-9453-394B7A1B8FD3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5446451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F45B2A-D67D-4619-AD39-431228FB9C55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04312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9E77EB-2A0F-460A-8A65-2063451B2DA7}" type="slidenum">
              <a:rPr lang="es-PE" smtClean="0"/>
              <a:t>2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3539042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F45B2A-D67D-4619-AD39-431228FB9C55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1181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546961A-84D9-D799-64B2-4BB674E61D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FF252EB5-29E9-85C7-B5F1-CEB3E2844E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DF926F4-08C8-982A-53D1-33FDD8F1AB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DEDB6-766F-4DF6-9E47-55DCC91BA829}" type="datetimeFigureOut">
              <a:rPr lang="es-PE" smtClean="0"/>
              <a:t>28/08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66F289F-3236-CE65-656A-CF5D61BE08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5850D67-183B-C3E3-D393-7FB4FC070A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74121-154E-428C-82B2-F1E8DF85C8FA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0296522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A054BDF-6DD1-AD3E-7E95-BFA7785CED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4CDF88E5-EDCE-C66A-3724-AAB3E0D6CF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87F3B75-E329-6F1A-D7AC-A1ABE8321E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DEDB6-766F-4DF6-9E47-55DCC91BA829}" type="datetimeFigureOut">
              <a:rPr lang="es-PE" smtClean="0"/>
              <a:t>28/08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9CB8337-B89E-7CF5-05F9-E1AE2CD62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A5AF5D9-DC87-7460-7AC5-8E565B1FDE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74121-154E-428C-82B2-F1E8DF85C8FA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651200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7934D5B0-853E-2C96-E554-8C441FBA24C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FDD65B2E-9649-27C7-0808-794986FFCA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E51DDE6-2F8E-2620-9479-4FF55EE247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DEDB6-766F-4DF6-9E47-55DCC91BA829}" type="datetimeFigureOut">
              <a:rPr lang="es-PE" smtClean="0"/>
              <a:t>28/08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0B7745B-94CE-4204-FE93-F67C0ADF30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4853BBB-A1AF-1355-3F74-186EBF3E08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74121-154E-428C-82B2-F1E8DF85C8FA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8898853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1" name="Diapositiva de think-cell" r:id="rId5" imgW="415" imgH="416" progId="TCLayout.ActiveDocument.1">
                  <p:embed/>
                </p:oleObj>
              </mc:Choice>
              <mc:Fallback>
                <p:oleObj name="Diapositiva de think-cell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94198" y="317504"/>
            <a:ext cx="1120179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s-ES_tradnl" sz="2000" dirty="0">
                <a:solidFill>
                  <a:schemeClr val="tx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s-ES_tradnl" err="1"/>
              <a:t>Click</a:t>
            </a:r>
            <a:r>
              <a:rPr lang="es-ES_tradnl"/>
              <a:t> to </a:t>
            </a:r>
            <a:r>
              <a:rPr lang="es-ES_tradnl" err="1"/>
              <a:t>add</a:t>
            </a:r>
            <a:r>
              <a:rPr lang="es-ES_tradnl"/>
              <a:t> </a:t>
            </a:r>
            <a:r>
              <a:rPr lang="es-ES_tradnl" err="1"/>
              <a:t>subtitle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81880376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5B1F201-DC51-4CB4-78BF-FBD6D6E37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533A624-0393-9E3D-4D0E-8EE3219DF8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81BDCBB-06F5-6B88-19BF-F310B65470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DEDB6-766F-4DF6-9E47-55DCC91BA829}" type="datetimeFigureOut">
              <a:rPr lang="es-PE" smtClean="0"/>
              <a:t>28/08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7711D09-53DC-B86B-C450-8772C00E17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16C137E-B631-9B6A-DB8F-7E89CE54AA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74121-154E-428C-82B2-F1E8DF85C8FA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108883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7EF575E-DF26-48B1-81A3-9286EB9FB2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4F86119-E1C1-5DD0-169D-D9D2543919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9A26F92-D7E9-CF06-25B7-03EA8E31A9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DEDB6-766F-4DF6-9E47-55DCC91BA829}" type="datetimeFigureOut">
              <a:rPr lang="es-PE" smtClean="0"/>
              <a:t>28/08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2504DBE-B4E8-F687-CB0C-0577F9F46A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E9C759C-A5E1-A195-343B-F20176049C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74121-154E-428C-82B2-F1E8DF85C8FA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8666691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4E54D16-EF53-0EE3-58C5-CF328AAC2D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AC8B02E-9DCA-D6DC-34CA-78BCE25F4FC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9E21CAC7-2F8D-EE65-4982-FE93CF0C6C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22A33D2B-88B1-E559-CF0A-000B7DE5B9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DEDB6-766F-4DF6-9E47-55DCC91BA829}" type="datetimeFigureOut">
              <a:rPr lang="es-PE" smtClean="0"/>
              <a:t>28/08/2024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55382E0-D45B-B753-664C-FF8B8E89DC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C85413A-37F7-A0CD-B095-91FEE8694D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74121-154E-428C-82B2-F1E8DF85C8FA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9984935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2D0732A-95E6-3F95-853B-E78EDB759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33099E3-9093-479C-6BEE-0A1B6E5B20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7D7E3D0-0470-55A9-ABE1-391872D656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76D7CEFA-2AA2-5719-172D-19B2B39A7E2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2B91D87B-25CB-ADD4-BA34-71D97D16413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BDC311BF-0252-8160-2478-3C80447AF0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DEDB6-766F-4DF6-9E47-55DCC91BA829}" type="datetimeFigureOut">
              <a:rPr lang="es-PE" smtClean="0"/>
              <a:t>28/08/2024</a:t>
            </a:fld>
            <a:endParaRPr lang="es-PE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F51A9349-B01C-134E-418B-43C5CC2062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52614218-B1C8-B767-2F6F-37E2E6E1C8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74121-154E-428C-82B2-F1E8DF85C8FA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301010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E0A03A8-F0B7-0DB6-CCFE-72DE47CE9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586ED33F-11E2-CFC2-2175-3793F78DC0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DEDB6-766F-4DF6-9E47-55DCC91BA829}" type="datetimeFigureOut">
              <a:rPr lang="es-PE" smtClean="0"/>
              <a:t>28/08/2024</a:t>
            </a:fld>
            <a:endParaRPr lang="es-PE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A294331-1037-97D0-047A-0D7A2145F8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AAE9A3FA-072C-EBD7-B47D-5A6C2B7EB3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74121-154E-428C-82B2-F1E8DF85C8FA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476974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4FEB145A-378D-9996-512A-500EC29539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DEDB6-766F-4DF6-9E47-55DCC91BA829}" type="datetimeFigureOut">
              <a:rPr lang="es-PE" smtClean="0"/>
              <a:t>28/08/2024</a:t>
            </a:fld>
            <a:endParaRPr lang="es-PE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38DC46B2-8E4D-DF77-1C77-FC006322BC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4BC1F78-D203-9335-72E8-D41A56647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74121-154E-428C-82B2-F1E8DF85C8FA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0143554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E90FF0B-DBB7-E2A0-C249-6C32213383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B0C9A70-3D89-51E5-1963-F1D231E2FD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C1709FC5-1474-ADF0-D2F0-D78A3D7A7D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E83F7F4-5BB7-AAEA-B1F8-11E9AABDC9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DEDB6-766F-4DF6-9E47-55DCC91BA829}" type="datetimeFigureOut">
              <a:rPr lang="es-PE" smtClean="0"/>
              <a:t>28/08/2024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5EE9075A-75CE-A69F-CDDE-467413B94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C7874B11-6F7F-D126-B7F6-45F201A971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74121-154E-428C-82B2-F1E8DF85C8FA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5604239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E1B43C-1E87-E848-AECB-F770165A6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074A8B2E-6151-77F0-0C2F-EC74AC3662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1199597B-E789-DC92-0485-95825411D5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DCCA40F3-0CF2-187B-2491-0EE1DBC865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DEDB6-766F-4DF6-9E47-55DCC91BA829}" type="datetimeFigureOut">
              <a:rPr lang="es-PE" smtClean="0"/>
              <a:t>28/08/2024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925CB1BF-73B7-3EAD-77E0-DD3F4DF6ED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B532DF6-A63C-700F-16C4-DB293C5881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74121-154E-428C-82B2-F1E8DF85C8FA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954891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45DF5233-B3C7-CE82-7EDE-193A8BB5E4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A3C427A-B8D2-A2AC-DE08-026E6343E3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3FBF904-DC06-C2C6-D240-4A53DEF8DE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8ADEDB6-766F-4DF6-9E47-55DCC91BA829}" type="datetimeFigureOut">
              <a:rPr lang="es-PE" smtClean="0"/>
              <a:t>28/08/20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A2FA3E9-E9CA-FD59-50A4-F5BFC075D3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5C05786-324C-565C-6323-96CFAE3F19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C374121-154E-428C-82B2-F1E8DF85C8FA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486203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022" name="Picture 6" descr="hoja de palma que cubre la sombra del sol">
            <a:extLst>
              <a:ext uri="{FF2B5EF4-FFF2-40B4-BE49-F238E27FC236}">
                <a16:creationId xmlns:a16="http://schemas.microsoft.com/office/drawing/2014/main" id="{46E3D133-0C9B-4DAA-8B1D-653A1BC1E3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756" y="-47421"/>
            <a:ext cx="12200756" cy="690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1376A77D-6A9A-4FC4-9576-F36B259B2757}"/>
              </a:ext>
            </a:extLst>
          </p:cNvPr>
          <p:cNvSpPr/>
          <p:nvPr/>
        </p:nvSpPr>
        <p:spPr>
          <a:xfrm>
            <a:off x="8756" y="2483806"/>
            <a:ext cx="9157015" cy="664711"/>
          </a:xfrm>
          <a:prstGeom prst="rect">
            <a:avLst/>
          </a:prstGeom>
          <a:solidFill>
            <a:schemeClr val="tx1"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3C518A69-8B92-40B8-8179-06F7197CE2EE}"/>
              </a:ext>
            </a:extLst>
          </p:cNvPr>
          <p:cNvSpPr/>
          <p:nvPr/>
        </p:nvSpPr>
        <p:spPr>
          <a:xfrm>
            <a:off x="8755" y="3135086"/>
            <a:ext cx="9476873" cy="444302"/>
          </a:xfrm>
          <a:prstGeom prst="rect">
            <a:avLst/>
          </a:prstGeom>
          <a:solidFill>
            <a:schemeClr val="tx1"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C33BD1A0-6495-47D6-A37B-D06A8E53A7A2}"/>
              </a:ext>
            </a:extLst>
          </p:cNvPr>
          <p:cNvSpPr/>
          <p:nvPr/>
        </p:nvSpPr>
        <p:spPr>
          <a:xfrm>
            <a:off x="0" y="5870303"/>
            <a:ext cx="12192000" cy="9876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AE364AA9-C0B1-4457-A402-7F950E69C2B3}"/>
              </a:ext>
            </a:extLst>
          </p:cNvPr>
          <p:cNvSpPr txBox="1">
            <a:spLocks/>
          </p:cNvSpPr>
          <p:nvPr/>
        </p:nvSpPr>
        <p:spPr>
          <a:xfrm>
            <a:off x="352926" y="2483806"/>
            <a:ext cx="9476874" cy="1095582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marR="5080">
              <a:spcBef>
                <a:spcPts val="100"/>
              </a:spcBef>
              <a:defRPr/>
            </a:pPr>
            <a:r>
              <a:rPr lang="es-MX" sz="3200" b="1" dirty="0">
                <a:solidFill>
                  <a:srgbClr val="E7E6E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ea typeface="Open Sans"/>
                <a:cs typeface="Arial"/>
              </a:rPr>
              <a:t>TEA </a:t>
            </a:r>
            <a:r>
              <a:rPr lang="es-MX" sz="3200" b="1" dirty="0" err="1">
                <a:solidFill>
                  <a:srgbClr val="E7E6E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ea typeface="Open Sans"/>
                <a:cs typeface="Arial"/>
              </a:rPr>
              <a:t>Analysis</a:t>
            </a:r>
            <a:r>
              <a:rPr lang="es-MX" sz="3200" b="1" dirty="0">
                <a:solidFill>
                  <a:srgbClr val="E7E6E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ea typeface="Open Sans"/>
                <a:cs typeface="Arial"/>
              </a:rPr>
              <a:t> </a:t>
            </a:r>
          </a:p>
          <a:p>
            <a:pPr marL="12700" marR="5080">
              <a:spcBef>
                <a:spcPts val="100"/>
              </a:spcBef>
              <a:defRPr/>
            </a:pPr>
            <a:br>
              <a:rPr lang="es-PE" sz="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cs typeface="Arial"/>
              </a:rPr>
            </a:br>
            <a:r>
              <a:rPr lang="es-ES" sz="1400" i="1" dirty="0">
                <a:solidFill>
                  <a:prstClr val="white">
                    <a:lumMod val="7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cs typeface="Arial"/>
              </a:rPr>
              <a:t>12 agosto del 2024</a:t>
            </a:r>
            <a:endParaRPr lang="es-ES" sz="20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Open Sans"/>
              <a:ea typeface="Open Sans"/>
              <a:cs typeface="Arial"/>
            </a:endParaRPr>
          </a:p>
        </p:txBody>
      </p:sp>
      <p:pic>
        <p:nvPicPr>
          <p:cNvPr id="7" name="object 5">
            <a:extLst>
              <a:ext uri="{FF2B5EF4-FFF2-40B4-BE49-F238E27FC236}">
                <a16:creationId xmlns:a16="http://schemas.microsoft.com/office/drawing/2014/main" id="{57FF61BE-523E-4F7B-A29A-7C31C0BF48E4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0285898" y="6047780"/>
            <a:ext cx="1677502" cy="632742"/>
          </a:xfrm>
          <a:prstGeom prst="rect">
            <a:avLst/>
          </a:prstGeom>
        </p:spPr>
      </p:pic>
      <p:sp>
        <p:nvSpPr>
          <p:cNvPr id="13" name="Rectángulo 12">
            <a:extLst>
              <a:ext uri="{FF2B5EF4-FFF2-40B4-BE49-F238E27FC236}">
                <a16:creationId xmlns:a16="http://schemas.microsoft.com/office/drawing/2014/main" id="{C1C3BDA6-F148-4974-BA76-529C76DF05CA}"/>
              </a:ext>
            </a:extLst>
          </p:cNvPr>
          <p:cNvSpPr/>
          <p:nvPr/>
        </p:nvSpPr>
        <p:spPr>
          <a:xfrm>
            <a:off x="1" y="2470362"/>
            <a:ext cx="352925" cy="1109026"/>
          </a:xfrm>
          <a:prstGeom prst="rect">
            <a:avLst/>
          </a:prstGeom>
          <a:solidFill>
            <a:srgbClr val="9BAC49">
              <a:alpha val="7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652B9AE2-D2B8-4513-9EC0-33D8F24989B7}"/>
              </a:ext>
            </a:extLst>
          </p:cNvPr>
          <p:cNvSpPr/>
          <p:nvPr/>
        </p:nvSpPr>
        <p:spPr>
          <a:xfrm>
            <a:off x="571264" y="6225651"/>
            <a:ext cx="80012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1" u="none" strike="noStrike" kern="1200" cap="none" spc="0" normalizeH="0" baseline="0" noProof="0">
                <a:ln>
                  <a:noFill/>
                </a:ln>
                <a:solidFill>
                  <a:srgbClr val="385620"/>
                </a:solidFill>
                <a:effectLst/>
                <a:uLnTx/>
                <a:uFillTx/>
                <a:latin typeface="Open Sans" panose="020B0606030504020204"/>
                <a:ea typeface="+mn-ea"/>
                <a:cs typeface="+mn-cs"/>
              </a:rPr>
              <a:t>“Existimos no solo para producir aceite… cultivamos desarrollo sostenible para transformar vidas.”</a:t>
            </a:r>
            <a:endParaRPr kumimoji="0" lang="es-PE" sz="1200" b="1" i="1" u="none" strike="noStrike" kern="1200" cap="none" spc="0" normalizeH="0" baseline="0" noProof="0">
              <a:ln>
                <a:noFill/>
              </a:ln>
              <a:solidFill>
                <a:srgbClr val="385620"/>
              </a:solidFill>
              <a:effectLst/>
              <a:uLnTx/>
              <a:uFillTx/>
              <a:latin typeface="Open Sans" panose="020B0606030504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5707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 descr="hoja de palma que cubre la sombra del sol">
            <a:extLst>
              <a:ext uri="{FF2B5EF4-FFF2-40B4-BE49-F238E27FC236}">
                <a16:creationId xmlns:a16="http://schemas.microsoft.com/office/drawing/2014/main" id="{B237B882-B24D-4633-AB42-D9661F0EAA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7563" r="13003"/>
          <a:stretch/>
        </p:blipFill>
        <p:spPr bwMode="auto">
          <a:xfrm>
            <a:off x="0" y="-16763"/>
            <a:ext cx="4086652" cy="6891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ángulo 2">
            <a:extLst>
              <a:ext uri="{FF2B5EF4-FFF2-40B4-BE49-F238E27FC236}">
                <a16:creationId xmlns:a16="http://schemas.microsoft.com/office/drawing/2014/main" id="{23080DEC-7E92-4557-A24F-AE2B643E63EA}"/>
              </a:ext>
            </a:extLst>
          </p:cNvPr>
          <p:cNvSpPr/>
          <p:nvPr/>
        </p:nvSpPr>
        <p:spPr>
          <a:xfrm>
            <a:off x="0" y="1064224"/>
            <a:ext cx="3775816" cy="557700"/>
          </a:xfrm>
          <a:prstGeom prst="rect">
            <a:avLst/>
          </a:prstGeom>
          <a:solidFill>
            <a:schemeClr val="tx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/>
                <a:ea typeface="+mn-ea"/>
                <a:cs typeface="+mn-cs"/>
              </a:rPr>
              <a:t>Index</a:t>
            </a:r>
            <a:endParaRPr kumimoji="0" lang="es-PE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 panose="020B0606030504020204"/>
              <a:ea typeface="+mn-ea"/>
              <a:cs typeface="+mn-cs"/>
            </a:endParaRPr>
          </a:p>
        </p:txBody>
      </p:sp>
      <p:graphicFrame>
        <p:nvGraphicFramePr>
          <p:cNvPr id="2" name="Tabla 5">
            <a:extLst>
              <a:ext uri="{FF2B5EF4-FFF2-40B4-BE49-F238E27FC236}">
                <a16:creationId xmlns:a16="http://schemas.microsoft.com/office/drawing/2014/main" id="{75F28477-55F2-A417-EBF1-D61943C64A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8132056"/>
              </p:ext>
            </p:extLst>
          </p:nvPr>
        </p:nvGraphicFramePr>
        <p:xfrm>
          <a:off x="4660751" y="1064224"/>
          <a:ext cx="6379977" cy="2926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3451">
                  <a:extLst>
                    <a:ext uri="{9D8B030D-6E8A-4147-A177-3AD203B41FA5}">
                      <a16:colId xmlns:a16="http://schemas.microsoft.com/office/drawing/2014/main" val="2070259349"/>
                    </a:ext>
                  </a:extLst>
                </a:gridCol>
                <a:gridCol w="4533900">
                  <a:extLst>
                    <a:ext uri="{9D8B030D-6E8A-4147-A177-3AD203B41FA5}">
                      <a16:colId xmlns:a16="http://schemas.microsoft.com/office/drawing/2014/main" val="3187608087"/>
                    </a:ext>
                  </a:extLst>
                </a:gridCol>
                <a:gridCol w="1202626">
                  <a:extLst>
                    <a:ext uri="{9D8B030D-6E8A-4147-A177-3AD203B41FA5}">
                      <a16:colId xmlns:a16="http://schemas.microsoft.com/office/drawing/2014/main" val="177199676"/>
                    </a:ext>
                  </a:extLst>
                </a:gridCol>
              </a:tblGrid>
              <a:tr h="248650">
                <a:tc>
                  <a:txBody>
                    <a:bodyPr/>
                    <a:lstStyle/>
                    <a:p>
                      <a:r>
                        <a:rPr lang="es-PE" sz="1400" b="1" dirty="0">
                          <a:solidFill>
                            <a:srgbClr val="74AD2B"/>
                          </a:solidFill>
                          <a:latin typeface="Open Sans" panose="020B0606030504020204"/>
                        </a:rPr>
                        <a:t>01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400" b="1" dirty="0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err="1">
                          <a:solidFill>
                            <a:schemeClr val="tx1"/>
                          </a:solidFill>
                          <a:latin typeface="Open Sans" panose="020B0606030504020204"/>
                        </a:rPr>
                        <a:t>Resultados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Open Sans" panose="020B0606030504020204"/>
                        </a:rPr>
                        <a:t> Proyecto </a:t>
                      </a:r>
                      <a:r>
                        <a:rPr lang="en-US" sz="1400" b="1" dirty="0" err="1">
                          <a:solidFill>
                            <a:schemeClr val="tx1"/>
                          </a:solidFill>
                          <a:latin typeface="Open Sans" panose="020B0606030504020204"/>
                        </a:rPr>
                        <a:t>Analítico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400" b="0" dirty="0">
                          <a:solidFill>
                            <a:schemeClr val="tx1"/>
                          </a:solidFill>
                          <a:latin typeface="Open Sans" panose="020B0606030504020204"/>
                        </a:rPr>
                        <a:t>Disponibilidad de variable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400" b="0" dirty="0">
                          <a:solidFill>
                            <a:schemeClr val="tx1"/>
                          </a:solidFill>
                          <a:latin typeface="Open Sans" panose="020B0606030504020204"/>
                        </a:rPr>
                        <a:t>Validación de supuesto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400" b="0" dirty="0">
                          <a:solidFill>
                            <a:schemeClr val="tx1"/>
                          </a:solidFill>
                          <a:latin typeface="Open Sans" panose="020B0606030504020204"/>
                        </a:rPr>
                        <a:t>Asociaciones con respecto a la TEA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400" b="0" dirty="0">
                          <a:solidFill>
                            <a:schemeClr val="tx1"/>
                          </a:solidFill>
                          <a:latin typeface="Open Sans" panose="020B0606030504020204"/>
                        </a:rPr>
                        <a:t>Hallazgos encontrados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400" b="0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4765737"/>
                  </a:ext>
                </a:extLst>
              </a:tr>
              <a:tr h="248650">
                <a:tc>
                  <a:txBody>
                    <a:bodyPr/>
                    <a:lstStyle/>
                    <a:p>
                      <a:endParaRPr lang="es-PE" sz="1400" b="1" dirty="0">
                        <a:solidFill>
                          <a:srgbClr val="74AD2B"/>
                        </a:solidFill>
                        <a:latin typeface="Open Sans" panose="020B0606030504020204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400" b="0" dirty="0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400" b="0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7469116"/>
                  </a:ext>
                </a:extLst>
              </a:tr>
              <a:tr h="248650">
                <a:tc>
                  <a:txBody>
                    <a:bodyPr/>
                    <a:lstStyle/>
                    <a:p>
                      <a:endParaRPr lang="es-PE" sz="1400" b="1" dirty="0">
                        <a:solidFill>
                          <a:srgbClr val="74AD2B"/>
                        </a:solidFill>
                        <a:latin typeface="Open Sans" panose="020B0606030504020204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MX" sz="1400" b="1" dirty="0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400" b="1" dirty="0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400" b="0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3279243"/>
                  </a:ext>
                </a:extLst>
              </a:tr>
              <a:tr h="248650">
                <a:tc>
                  <a:txBody>
                    <a:bodyPr/>
                    <a:lstStyle/>
                    <a:p>
                      <a:endParaRPr lang="es-PE" sz="1400" b="1" dirty="0">
                        <a:solidFill>
                          <a:srgbClr val="74AD2B"/>
                        </a:solidFill>
                        <a:latin typeface="Open Sans" panose="020B0606030504020204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MX" sz="1400" b="1" dirty="0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400" b="1" dirty="0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400" b="0" dirty="0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7813141"/>
                  </a:ext>
                </a:extLst>
              </a:tr>
            </a:tbl>
          </a:graphicData>
        </a:graphic>
      </p:graphicFrame>
      <p:pic>
        <p:nvPicPr>
          <p:cNvPr id="4" name="Imagen 3">
            <a:extLst>
              <a:ext uri="{FF2B5EF4-FFF2-40B4-BE49-F238E27FC236}">
                <a16:creationId xmlns:a16="http://schemas.microsoft.com/office/drawing/2014/main" id="{D9C91419-7A68-5B8E-65D4-BEF49D55484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4185" y="224283"/>
            <a:ext cx="1213816" cy="560154"/>
          </a:xfrm>
          <a:prstGeom prst="rect">
            <a:avLst/>
          </a:prstGeom>
        </p:spPr>
      </p:pic>
      <p:sp>
        <p:nvSpPr>
          <p:cNvPr id="7" name="Marcador de número de diapositiva 9">
            <a:extLst>
              <a:ext uri="{FF2B5EF4-FFF2-40B4-BE49-F238E27FC236}">
                <a16:creationId xmlns:a16="http://schemas.microsoft.com/office/drawing/2014/main" id="{8235E3C5-FC29-5FD9-4F2D-F1CD8501F04F}"/>
              </a:ext>
            </a:extLst>
          </p:cNvPr>
          <p:cNvSpPr txBox="1">
            <a:spLocks/>
          </p:cNvSpPr>
          <p:nvPr/>
        </p:nvSpPr>
        <p:spPr>
          <a:xfrm>
            <a:off x="11614828" y="6631078"/>
            <a:ext cx="447997" cy="185692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es-PE" sz="650" b="1" i="0" u="none" strike="noStrike" kern="1200" cap="none" spc="-5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pPr marL="381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PE" sz="650" b="1" i="0" u="none" strike="noStrike" kern="1200" cap="none" spc="-5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  <p:sp>
        <p:nvSpPr>
          <p:cNvPr id="5" name="Marcador de número de diapositiva 9">
            <a:extLst>
              <a:ext uri="{FF2B5EF4-FFF2-40B4-BE49-F238E27FC236}">
                <a16:creationId xmlns:a16="http://schemas.microsoft.com/office/drawing/2014/main" id="{7DB90F02-2A22-D628-76E8-647555C15FEA}"/>
              </a:ext>
            </a:extLst>
          </p:cNvPr>
          <p:cNvSpPr txBox="1">
            <a:spLocks/>
          </p:cNvSpPr>
          <p:nvPr/>
        </p:nvSpPr>
        <p:spPr>
          <a:xfrm>
            <a:off x="117632" y="6673911"/>
            <a:ext cx="4793416" cy="10002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50" b="0" i="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50" b="1" i="0" u="none" strike="noStrike" kern="1200" cap="none" spc="-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</a:rPr>
              <a:t>Grupo Palmas </a:t>
            </a:r>
            <a:r>
              <a:rPr kumimoji="0" lang="es-ES" sz="650" b="0" i="0" u="none" strike="noStrike" kern="1200" cap="none" spc="-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</a:rPr>
              <a:t>| </a:t>
            </a:r>
            <a:r>
              <a:rPr lang="es-ES" spc="-5">
                <a:solidFill>
                  <a:schemeClr val="bg1"/>
                </a:solidFill>
              </a:rPr>
              <a:t>TMO </a:t>
            </a:r>
            <a:r>
              <a:rPr lang="es-ES" spc="-5" err="1">
                <a:solidFill>
                  <a:schemeClr val="bg1"/>
                </a:solidFill>
              </a:rPr>
              <a:t>Upstream</a:t>
            </a:r>
            <a:endParaRPr kumimoji="0" lang="es-ES" sz="650" b="0" i="0" u="none" strike="noStrike" kern="1200" cap="none" spc="-5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307786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EFDE135-18E7-AB66-0A03-0D335AF569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9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FDE135-18E7-AB66-0A03-0D335AF56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7524" name="Picture 4" descr="plantas de hojas verdes">
            <a:extLst>
              <a:ext uri="{FF2B5EF4-FFF2-40B4-BE49-F238E27FC236}">
                <a16:creationId xmlns:a16="http://schemas.microsoft.com/office/drawing/2014/main" id="{BCBFEE64-C4FC-4E5F-AC51-4F639E82EE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40" y="0"/>
            <a:ext cx="1028185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id="{7790BCA1-5CA1-4E77-A366-86D242AC26A4}"/>
              </a:ext>
            </a:extLst>
          </p:cNvPr>
          <p:cNvSpPr/>
          <p:nvPr/>
        </p:nvSpPr>
        <p:spPr>
          <a:xfrm>
            <a:off x="1242318" y="2851294"/>
            <a:ext cx="5154967" cy="2478885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182DD656-1854-405B-B64B-B3B0D5FA37F6}"/>
              </a:ext>
            </a:extLst>
          </p:cNvPr>
          <p:cNvSpPr/>
          <p:nvPr/>
        </p:nvSpPr>
        <p:spPr>
          <a:xfrm>
            <a:off x="8021053" y="0"/>
            <a:ext cx="4170947" cy="6858000"/>
          </a:xfrm>
          <a:prstGeom prst="rect">
            <a:avLst/>
          </a:prstGeom>
          <a:solidFill>
            <a:srgbClr val="8EB523"/>
          </a:solidFill>
          <a:ln>
            <a:solidFill>
              <a:srgbClr val="86BC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17DDC521-171C-43DC-9EEE-8C2738BBFFE5}"/>
              </a:ext>
            </a:extLst>
          </p:cNvPr>
          <p:cNvSpPr/>
          <p:nvPr/>
        </p:nvSpPr>
        <p:spPr>
          <a:xfrm>
            <a:off x="1098318" y="0"/>
            <a:ext cx="144000" cy="54741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07510815-B53A-49F3-B16E-FBCCCEAFD65D}"/>
              </a:ext>
            </a:extLst>
          </p:cNvPr>
          <p:cNvSpPr/>
          <p:nvPr/>
        </p:nvSpPr>
        <p:spPr>
          <a:xfrm>
            <a:off x="6397287" y="2707293"/>
            <a:ext cx="144000" cy="41507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AA2B2CBB-8AE5-4F73-BE3E-8483DEF580D4}"/>
              </a:ext>
            </a:extLst>
          </p:cNvPr>
          <p:cNvSpPr/>
          <p:nvPr/>
        </p:nvSpPr>
        <p:spPr>
          <a:xfrm rot="5400000">
            <a:off x="3190623" y="-499372"/>
            <a:ext cx="144000" cy="6557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488588EB-58E5-4099-8499-C3D5B9145103}"/>
              </a:ext>
            </a:extLst>
          </p:cNvPr>
          <p:cNvSpPr/>
          <p:nvPr/>
        </p:nvSpPr>
        <p:spPr>
          <a:xfrm rot="5400000">
            <a:off x="6580991" y="-136830"/>
            <a:ext cx="144000" cy="110780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5656B9B7-95EA-4463-BA34-9D6AB6FF4E9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68604" y="3237974"/>
            <a:ext cx="4700227" cy="38279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55600">
              <a:lnSpc>
                <a:spcPct val="100000"/>
              </a:lnSpc>
              <a:spcBef>
                <a:spcPts val="105"/>
              </a:spcBef>
            </a:pPr>
            <a:r>
              <a:rPr lang="es-MX" sz="2400" b="1" dirty="0">
                <a:solidFill>
                  <a:schemeClr val="bg1"/>
                </a:solidFill>
                <a:latin typeface="Arial"/>
                <a:ea typeface="Open Sans"/>
                <a:cs typeface="Arial"/>
              </a:rPr>
              <a:t>Proyecto Analítico</a:t>
            </a:r>
            <a:endParaRPr lang="es-ES" dirty="0">
              <a:solidFill>
                <a:schemeClr val="bg1"/>
              </a:solidFill>
              <a:latin typeface="Calibri Light" panose="020F0302020204030204"/>
              <a:ea typeface="Calibri Light" panose="020F0302020204030204"/>
              <a:cs typeface="Calibri Light" panose="020F0302020204030204"/>
            </a:endParaRPr>
          </a:p>
        </p:txBody>
      </p:sp>
      <p:pic>
        <p:nvPicPr>
          <p:cNvPr id="14" name="object 5">
            <a:extLst>
              <a:ext uri="{FF2B5EF4-FFF2-40B4-BE49-F238E27FC236}">
                <a16:creationId xmlns:a16="http://schemas.microsoft.com/office/drawing/2014/main" id="{47DE8B9A-38C5-415E-8F5F-FDC43EF440CE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0147090" y="5849719"/>
            <a:ext cx="1677502" cy="632742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7D6F8709-AD8B-ED61-081B-7F660D9C52D1}"/>
              </a:ext>
            </a:extLst>
          </p:cNvPr>
          <p:cNvSpPr txBox="1"/>
          <p:nvPr/>
        </p:nvSpPr>
        <p:spPr>
          <a:xfrm>
            <a:off x="8597599" y="633482"/>
            <a:ext cx="3017854" cy="450892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8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</a:t>
            </a:r>
            <a:endParaRPr lang="es-PE" sz="28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Marcador de número de diapositiva 9">
            <a:extLst>
              <a:ext uri="{FF2B5EF4-FFF2-40B4-BE49-F238E27FC236}">
                <a16:creationId xmlns:a16="http://schemas.microsoft.com/office/drawing/2014/main" id="{32300C65-2FE7-6430-C2DB-79346412A549}"/>
              </a:ext>
            </a:extLst>
          </p:cNvPr>
          <p:cNvSpPr txBox="1">
            <a:spLocks/>
          </p:cNvSpPr>
          <p:nvPr/>
        </p:nvSpPr>
        <p:spPr>
          <a:xfrm>
            <a:off x="136393" y="6672741"/>
            <a:ext cx="4793416" cy="10002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50" b="0" i="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50" b="1" i="0" u="none" strike="noStrike" kern="1200" cap="none" spc="-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</a:rPr>
              <a:t>Grupo Palmas </a:t>
            </a:r>
            <a:r>
              <a:rPr kumimoji="0" lang="es-ES" sz="650" b="0" i="0" u="none" strike="noStrike" kern="1200" cap="none" spc="-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</a:rPr>
              <a:t>| Sesión de Planeamiento </a:t>
            </a:r>
            <a:r>
              <a:rPr kumimoji="0" lang="es-ES" sz="650" b="0" i="0" u="none" strike="noStrike" kern="1200" cap="none" spc="-5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</a:rPr>
              <a:t>Estrat</a:t>
            </a:r>
            <a:r>
              <a:rPr lang="es-ES" spc="-5" err="1">
                <a:solidFill>
                  <a:schemeClr val="bg1"/>
                </a:solidFill>
              </a:rPr>
              <a:t>égico</a:t>
            </a:r>
            <a:r>
              <a:rPr lang="es-ES" spc="-5">
                <a:solidFill>
                  <a:schemeClr val="bg1"/>
                </a:solidFill>
              </a:rPr>
              <a:t> – Septiembre 2023</a:t>
            </a:r>
            <a:endParaRPr kumimoji="0" lang="es-ES" sz="650" b="0" i="0" u="none" strike="noStrike" kern="1200" cap="none" spc="-5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</a:endParaRPr>
          </a:p>
        </p:txBody>
      </p:sp>
      <p:sp>
        <p:nvSpPr>
          <p:cNvPr id="15" name="Marcador de número de diapositiva 9">
            <a:extLst>
              <a:ext uri="{FF2B5EF4-FFF2-40B4-BE49-F238E27FC236}">
                <a16:creationId xmlns:a16="http://schemas.microsoft.com/office/drawing/2014/main" id="{563FC184-2949-F06B-53EE-DAC39949C9BD}"/>
              </a:ext>
            </a:extLst>
          </p:cNvPr>
          <p:cNvSpPr txBox="1">
            <a:spLocks/>
          </p:cNvSpPr>
          <p:nvPr/>
        </p:nvSpPr>
        <p:spPr>
          <a:xfrm>
            <a:off x="11735327" y="6620417"/>
            <a:ext cx="447997" cy="185692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es-PE" sz="650" b="1" i="0" u="none" strike="noStrike" kern="1200" cap="none" spc="-5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pPr marL="381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PE" sz="650" b="1" i="0" u="none" strike="noStrike" kern="1200" cap="none" spc="-5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  <p:sp>
        <p:nvSpPr>
          <p:cNvPr id="11" name="AutoShape 17" descr="https://usc-powerpoint.officeapps.live.com/pods/GetClipboardImage.ashx?Id=62a2427d-3ded-47d3-a21b-105831b9f5a5&amp;DC=PUS4&amp;pkey=a7720937-7cf0-49f2-b9ec-e6aab1872f34&amp;wdwaccluster=PUS4"/>
          <p:cNvSpPr>
            <a:spLocks noChangeAspect="1" noChangeArrowheads="1"/>
          </p:cNvSpPr>
          <p:nvPr/>
        </p:nvSpPr>
        <p:spPr bwMode="auto">
          <a:xfrm>
            <a:off x="21272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21" descr="https://usc-powerpoint.officeapps.live.com/pods/GetClipboardImage.ashx?Id=5f82db2d-7ace-4f5d-987b-ea4fbb3bafe4&amp;DC=PUS13&amp;pkey=a1069b05-efc2-44fd-a4fc-5dcd7e625867&amp;wdwaccluster=PUS13"/>
          <p:cNvSpPr>
            <a:spLocks noChangeAspect="1" noChangeArrowheads="1"/>
          </p:cNvSpPr>
          <p:nvPr/>
        </p:nvSpPr>
        <p:spPr bwMode="auto">
          <a:xfrm>
            <a:off x="36512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/>
              <a:t> </a:t>
            </a:r>
          </a:p>
        </p:txBody>
      </p:sp>
      <p:sp>
        <p:nvSpPr>
          <p:cNvPr id="17" name="object 4">
            <a:extLst>
              <a:ext uri="{FF2B5EF4-FFF2-40B4-BE49-F238E27FC236}">
                <a16:creationId xmlns:a16="http://schemas.microsoft.com/office/drawing/2014/main" id="{2793934A-ACEE-9D79-9371-4C2B0E14DCC4}"/>
              </a:ext>
            </a:extLst>
          </p:cNvPr>
          <p:cNvSpPr txBox="1">
            <a:spLocks/>
          </p:cNvSpPr>
          <p:nvPr/>
        </p:nvSpPr>
        <p:spPr>
          <a:xfrm>
            <a:off x="1409817" y="3830386"/>
            <a:ext cx="4819968" cy="1036822"/>
          </a:xfrm>
          <a:prstGeom prst="rect">
            <a:avLst/>
          </a:prstGeom>
        </p:spPr>
        <p:txBody>
          <a:bodyPr vert="horz" wrap="square" lIns="0" tIns="13335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698500" indent="-342900">
              <a:lnSpc>
                <a:spcPct val="100000"/>
              </a:lnSpc>
              <a:spcBef>
                <a:spcPts val="105"/>
              </a:spcBef>
              <a:buFont typeface="Arial"/>
              <a:buChar char="•"/>
            </a:pPr>
            <a:r>
              <a:rPr lang="es-MX" sz="1600" dirty="0">
                <a:solidFill>
                  <a:schemeClr val="bg1"/>
                </a:solidFill>
                <a:latin typeface="Arial"/>
                <a:ea typeface="Open Sans"/>
                <a:cs typeface="Arial"/>
              </a:rPr>
              <a:t>Disponibilidad de variables</a:t>
            </a:r>
          </a:p>
          <a:p>
            <a:pPr marL="698500" indent="-342900">
              <a:lnSpc>
                <a:spcPct val="100000"/>
              </a:lnSpc>
              <a:spcBef>
                <a:spcPts val="105"/>
              </a:spcBef>
              <a:buFont typeface="Arial"/>
              <a:buChar char="•"/>
            </a:pPr>
            <a:r>
              <a:rPr lang="es-MX" sz="1600" dirty="0">
                <a:solidFill>
                  <a:schemeClr val="bg1"/>
                </a:solidFill>
                <a:latin typeface="Arial"/>
                <a:ea typeface="Open Sans"/>
                <a:cs typeface="Arial"/>
              </a:rPr>
              <a:t>Validación de supuestos</a:t>
            </a:r>
          </a:p>
          <a:p>
            <a:pPr marL="698500" indent="-342900">
              <a:lnSpc>
                <a:spcPct val="100000"/>
              </a:lnSpc>
              <a:spcBef>
                <a:spcPts val="105"/>
              </a:spcBef>
              <a:buFont typeface="Arial"/>
              <a:buChar char="•"/>
            </a:pPr>
            <a:r>
              <a:rPr lang="es-MX" sz="1600" dirty="0">
                <a:solidFill>
                  <a:schemeClr val="bg1"/>
                </a:solidFill>
                <a:latin typeface="Arial"/>
                <a:ea typeface="Open Sans"/>
                <a:cs typeface="Arial"/>
              </a:rPr>
              <a:t>Asociaciones con respecto a la TEA</a:t>
            </a:r>
          </a:p>
          <a:p>
            <a:pPr marL="698500" indent="-342900">
              <a:lnSpc>
                <a:spcPct val="100000"/>
              </a:lnSpc>
              <a:spcBef>
                <a:spcPts val="105"/>
              </a:spcBef>
              <a:buFont typeface="Arial"/>
              <a:buChar char="•"/>
            </a:pPr>
            <a:r>
              <a:rPr lang="es-MX" sz="1600" dirty="0">
                <a:solidFill>
                  <a:schemeClr val="bg1"/>
                </a:solidFill>
                <a:latin typeface="Arial"/>
                <a:ea typeface="Open Sans"/>
                <a:cs typeface="Arial"/>
              </a:rPr>
              <a:t>Hallazgos encontrados</a:t>
            </a:r>
          </a:p>
        </p:txBody>
      </p:sp>
    </p:spTree>
    <p:extLst>
      <p:ext uri="{BB962C8B-B14F-4D97-AF65-F5344CB8AC3E}">
        <p14:creationId xmlns:p14="http://schemas.microsoft.com/office/powerpoint/2010/main" val="18042846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14FCB9FD-05DA-B27E-D040-1D5A42373B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4185" y="224283"/>
            <a:ext cx="1213816" cy="560154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23293BD6-16C6-2097-873C-72E706CF6316}"/>
              </a:ext>
            </a:extLst>
          </p:cNvPr>
          <p:cNvSpPr txBox="1"/>
          <p:nvPr/>
        </p:nvSpPr>
        <p:spPr>
          <a:xfrm>
            <a:off x="242211" y="380870"/>
            <a:ext cx="9089444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s-ES" sz="2000" b="1" dirty="0">
                <a:solidFill>
                  <a:srgbClr val="74AD2B"/>
                </a:solidFill>
                <a:latin typeface="Arial"/>
                <a:cs typeface="Arial"/>
              </a:rPr>
              <a:t>Análisis descriptivo de variables</a:t>
            </a:r>
            <a:endParaRPr lang="es-ES" dirty="0"/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496E2AD3-0567-D000-28A1-873744705C03}"/>
              </a:ext>
            </a:extLst>
          </p:cNvPr>
          <p:cNvSpPr/>
          <p:nvPr/>
        </p:nvSpPr>
        <p:spPr>
          <a:xfrm>
            <a:off x="455718" y="1683543"/>
            <a:ext cx="2453919" cy="40884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MX" dirty="0"/>
              <a:t>Objetivo del proyecto</a:t>
            </a:r>
            <a:endParaRPr lang="es-ES" dirty="0"/>
          </a:p>
        </p:txBody>
      </p:sp>
      <p:sp>
        <p:nvSpPr>
          <p:cNvPr id="8" name="Rectángulo redondeado 67">
            <a:extLst>
              <a:ext uri="{FF2B5EF4-FFF2-40B4-BE49-F238E27FC236}">
                <a16:creationId xmlns:a16="http://schemas.microsoft.com/office/drawing/2014/main" id="{5805BC64-7099-2DC1-9698-E4ACB2364205}"/>
              </a:ext>
            </a:extLst>
          </p:cNvPr>
          <p:cNvSpPr/>
          <p:nvPr/>
        </p:nvSpPr>
        <p:spPr>
          <a:xfrm>
            <a:off x="460303" y="1716936"/>
            <a:ext cx="10890772" cy="2259555"/>
          </a:xfrm>
          <a:prstGeom prst="roundRect">
            <a:avLst>
              <a:gd name="adj" fmla="val 5851"/>
            </a:avLst>
          </a:prstGeom>
          <a:noFill/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286D41E8-BF84-F2B4-C5FA-2A6423E7651D}"/>
              </a:ext>
            </a:extLst>
          </p:cNvPr>
          <p:cNvSpPr txBox="1"/>
          <p:nvPr/>
        </p:nvSpPr>
        <p:spPr>
          <a:xfrm>
            <a:off x="533631" y="2210117"/>
            <a:ext cx="10744116" cy="156966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" altLang="es-PE" sz="1200" dirty="0">
                <a:solidFill>
                  <a:prstClr val="black"/>
                </a:solidFill>
                <a:latin typeface="Arial Narow"/>
                <a:cs typeface="Arial"/>
              </a:rPr>
              <a:t>Se realizó un análisis descriptivo inicial exhaustivo para identificar y revisar: </a:t>
            </a:r>
          </a:p>
          <a:p>
            <a:pPr marL="628650" lvl="1" indent="-171450">
              <a:buFont typeface="Courier New"/>
              <a:buChar char="o"/>
              <a:defRPr/>
            </a:pP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  <a:p>
            <a:pPr marL="628650" lvl="1" indent="-171450">
              <a:buFont typeface="Courier New"/>
              <a:buChar char="o"/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Distribución de variables independientes.</a:t>
            </a:r>
            <a:endParaRPr lang="es-PE" dirty="0">
              <a:solidFill>
                <a:prstClr val="black"/>
              </a:solidFill>
              <a:latin typeface="Calibri" panose="020F0502020204030204"/>
              <a:cs typeface="Calibri" panose="020F0502020204030204"/>
            </a:endParaRPr>
          </a:p>
          <a:p>
            <a:pPr marL="628650" lvl="1" indent="-171450">
              <a:buFont typeface="Courier New"/>
              <a:buChar char="o"/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Limpieza de variables. </a:t>
            </a:r>
            <a:endParaRPr lang="es-PE" dirty="0">
              <a:solidFill>
                <a:prstClr val="black"/>
              </a:solidFill>
              <a:latin typeface="Calibri" panose="020F0502020204030204"/>
              <a:cs typeface="Calibri"/>
            </a:endParaRPr>
          </a:p>
          <a:p>
            <a:pPr marL="628650" lvl="1" indent="-171450">
              <a:buFont typeface="Courier New"/>
              <a:buChar char="o"/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Incorporación de nuevas variables para análisis. </a:t>
            </a:r>
            <a:endParaRPr lang="es-PE" dirty="0">
              <a:solidFill>
                <a:prstClr val="black"/>
              </a:solidFill>
              <a:latin typeface="Calibri" panose="020F0502020204030204"/>
              <a:cs typeface="Calibri"/>
            </a:endParaRPr>
          </a:p>
          <a:p>
            <a:pPr marL="628650" lvl="1" indent="-171450">
              <a:buFont typeface="Courier New"/>
              <a:buChar char="o"/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Disponibilidad de datos temporales. </a:t>
            </a:r>
            <a:endParaRPr lang="es-PE" dirty="0">
              <a:solidFill>
                <a:prstClr val="black"/>
              </a:solidFill>
              <a:latin typeface="Calibri" panose="020F0502020204030204"/>
              <a:cs typeface="Calibri"/>
            </a:endParaRPr>
          </a:p>
          <a:p>
            <a:pPr marL="628650" lvl="1" indent="-171450">
              <a:buFont typeface="Courier New"/>
              <a:buChar char="o"/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Validación de supuestos entre variables existentes. </a:t>
            </a:r>
            <a:endParaRPr lang="es-PE" dirty="0">
              <a:solidFill>
                <a:prstClr val="black"/>
              </a:solidFill>
              <a:latin typeface="Calibri" panose="020F0502020204030204"/>
              <a:cs typeface="Calibri"/>
            </a:endParaRPr>
          </a:p>
          <a:p>
            <a:pPr marL="628650" lvl="1" indent="-171450">
              <a:buFont typeface="Courier New"/>
              <a:buChar char="o"/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Asociaciones entre variables existentes y la TEA.​</a:t>
            </a:r>
            <a:endParaRPr lang="es-PE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02" name="CuadroTexto 101">
            <a:extLst>
              <a:ext uri="{FF2B5EF4-FFF2-40B4-BE49-F238E27FC236}">
                <a16:creationId xmlns:a16="http://schemas.microsoft.com/office/drawing/2014/main" id="{D86E3484-6443-4FD8-EF71-B2DB8E854197}"/>
              </a:ext>
            </a:extLst>
          </p:cNvPr>
          <p:cNvSpPr txBox="1"/>
          <p:nvPr/>
        </p:nvSpPr>
        <p:spPr>
          <a:xfrm>
            <a:off x="561465" y="4794673"/>
            <a:ext cx="10617729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" altLang="es-PE" sz="1200" dirty="0">
                <a:solidFill>
                  <a:prstClr val="black"/>
                </a:solidFill>
                <a:latin typeface="Arial Narow"/>
                <a:cs typeface="Arial"/>
              </a:rPr>
              <a:t>Este análisis permitirá detectar patrones, tendencias y relaciones significativas que puedan influir en la variabilidad de la producción de TEA, proporcionando información clave como insumo para consultores externos. 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2A2B8A4F-DD0A-71AE-CAA2-D8A210D29B61}"/>
              </a:ext>
            </a:extLst>
          </p:cNvPr>
          <p:cNvSpPr/>
          <p:nvPr/>
        </p:nvSpPr>
        <p:spPr>
          <a:xfrm>
            <a:off x="553689" y="4372313"/>
            <a:ext cx="2641795" cy="40884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MX" dirty="0"/>
              <a:t>Beneficios del proyecto</a:t>
            </a:r>
            <a:endParaRPr lang="es-ES" dirty="0"/>
          </a:p>
        </p:txBody>
      </p:sp>
      <p:sp>
        <p:nvSpPr>
          <p:cNvPr id="12" name="Rectángulo redondeado 67">
            <a:extLst>
              <a:ext uri="{FF2B5EF4-FFF2-40B4-BE49-F238E27FC236}">
                <a16:creationId xmlns:a16="http://schemas.microsoft.com/office/drawing/2014/main" id="{E18CD162-8328-81B2-6345-2D6D995F5DE4}"/>
              </a:ext>
            </a:extLst>
          </p:cNvPr>
          <p:cNvSpPr/>
          <p:nvPr/>
        </p:nvSpPr>
        <p:spPr>
          <a:xfrm>
            <a:off x="558274" y="4383935"/>
            <a:ext cx="10792801" cy="1116556"/>
          </a:xfrm>
          <a:prstGeom prst="roundRect">
            <a:avLst>
              <a:gd name="adj" fmla="val 5851"/>
            </a:avLst>
          </a:prstGeom>
          <a:noFill/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2925653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14FCB9FD-05DA-B27E-D040-1D5A42373B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4185" y="224283"/>
            <a:ext cx="1213816" cy="560154"/>
          </a:xfrm>
          <a:prstGeom prst="rect">
            <a:avLst/>
          </a:prstGeom>
        </p:spPr>
      </p:pic>
      <p:sp>
        <p:nvSpPr>
          <p:cNvPr id="14" name="Rectángulo 13">
            <a:extLst>
              <a:ext uri="{FF2B5EF4-FFF2-40B4-BE49-F238E27FC236}">
                <a16:creationId xmlns:a16="http://schemas.microsoft.com/office/drawing/2014/main" id="{A0BC6460-AC6B-45F1-B2CC-027725FBBE05}"/>
              </a:ext>
            </a:extLst>
          </p:cNvPr>
          <p:cNvSpPr/>
          <p:nvPr/>
        </p:nvSpPr>
        <p:spPr>
          <a:xfrm>
            <a:off x="223999" y="224283"/>
            <a:ext cx="10105333" cy="419184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s-MX" sz="1400" b="1" dirty="0">
                <a:solidFill>
                  <a:schemeClr val="bg1"/>
                </a:solidFill>
                <a:latin typeface="Arial"/>
                <a:cs typeface="Arial"/>
              </a:rPr>
              <a:t>PESOS DE VARIABLES INFLUYENTES</a:t>
            </a:r>
            <a:endParaRPr lang="es-PE" sz="14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FD463CC5-6313-493F-A88F-7C0BE39EE961}"/>
              </a:ext>
            </a:extLst>
          </p:cNvPr>
          <p:cNvSpPr/>
          <p:nvPr/>
        </p:nvSpPr>
        <p:spPr>
          <a:xfrm>
            <a:off x="223999" y="870162"/>
            <a:ext cx="1766726" cy="32749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PE" sz="1050" b="1" dirty="0">
                <a:solidFill>
                  <a:schemeClr val="bg1"/>
                </a:solidFill>
                <a:latin typeface="Arial"/>
                <a:cs typeface="Arial"/>
              </a:rPr>
              <a:t>SHANUSI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233A5103-2181-41B4-9BFA-F3CDD87CD5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3724275"/>
            <a:ext cx="5724525" cy="1943847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B51C67CA-5F12-436E-8A46-44E0A0AFF2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5482" y="1383282"/>
            <a:ext cx="5356168" cy="1904748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DBCBE45F-2250-4AEA-B7F0-CD20F75BB34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0" y="1197654"/>
            <a:ext cx="5724525" cy="1848357"/>
          </a:xfrm>
          <a:prstGeom prst="rect">
            <a:avLst/>
          </a:prstGeom>
        </p:spPr>
      </p:pic>
      <p:sp>
        <p:nvSpPr>
          <p:cNvPr id="20" name="CuadroTexto 19">
            <a:extLst>
              <a:ext uri="{FF2B5EF4-FFF2-40B4-BE49-F238E27FC236}">
                <a16:creationId xmlns:a16="http://schemas.microsoft.com/office/drawing/2014/main" id="{C5D81397-908A-4B16-BF69-FC7BC9056E41}"/>
              </a:ext>
            </a:extLst>
          </p:cNvPr>
          <p:cNvSpPr txBox="1"/>
          <p:nvPr/>
        </p:nvSpPr>
        <p:spPr>
          <a:xfrm>
            <a:off x="495531" y="4027845"/>
            <a:ext cx="10744116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" altLang="es-PE" sz="1200" dirty="0">
                <a:solidFill>
                  <a:prstClr val="black"/>
                </a:solidFill>
                <a:latin typeface="Arial Narow"/>
                <a:cs typeface="Arial"/>
              </a:rPr>
              <a:t>No se consideraron las variables: </a:t>
            </a:r>
          </a:p>
          <a:p>
            <a:pPr marL="628650" lvl="1" indent="-171450">
              <a:buFont typeface="Courier New"/>
              <a:buChar char="o"/>
              <a:defRPr/>
            </a:pPr>
            <a:endParaRPr lang="es-PE" sz="1200" dirty="0">
              <a:solidFill>
                <a:prstClr val="black"/>
              </a:solidFill>
              <a:latin typeface="Arial Narow"/>
              <a:cs typeface="Arial"/>
            </a:endParaRPr>
          </a:p>
          <a:p>
            <a:pPr marL="628650" lvl="1" indent="-171450">
              <a:buFont typeface="Courier New"/>
              <a:buChar char="o"/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TM ACEITE SOLIDO TD</a:t>
            </a:r>
          </a:p>
          <a:p>
            <a:pPr marL="628650" lvl="1" indent="-171450">
              <a:buFont typeface="Courier New"/>
              <a:buChar char="o"/>
              <a:defRPr/>
            </a:pPr>
            <a:r>
              <a:rPr lang="es-PE" sz="1200" dirty="0">
                <a:solidFill>
                  <a:prstClr val="black"/>
                </a:solidFill>
                <a:latin typeface="Arial Narow"/>
                <a:cs typeface="Arial"/>
              </a:rPr>
              <a:t>TM ACEITE EN ARENA</a:t>
            </a:r>
          </a:p>
        </p:txBody>
      </p:sp>
    </p:spTree>
    <p:extLst>
      <p:ext uri="{BB962C8B-B14F-4D97-AF65-F5344CB8AC3E}">
        <p14:creationId xmlns:p14="http://schemas.microsoft.com/office/powerpoint/2010/main" val="26681588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022" name="Picture 6" descr="hoja de palma que cubre la sombra del sol">
            <a:extLst>
              <a:ext uri="{FF2B5EF4-FFF2-40B4-BE49-F238E27FC236}">
                <a16:creationId xmlns:a16="http://schemas.microsoft.com/office/drawing/2014/main" id="{46E3D133-0C9B-4DAA-8B1D-653A1BC1E3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90"/>
          <a:stretch/>
        </p:blipFill>
        <p:spPr bwMode="auto">
          <a:xfrm>
            <a:off x="0" y="0"/>
            <a:ext cx="12192000" cy="6843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C33BD1A0-6495-47D6-A37B-D06A8E53A7A2}"/>
              </a:ext>
            </a:extLst>
          </p:cNvPr>
          <p:cNvSpPr/>
          <p:nvPr/>
        </p:nvSpPr>
        <p:spPr>
          <a:xfrm>
            <a:off x="0" y="5870303"/>
            <a:ext cx="12192000" cy="9876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object 5">
            <a:extLst>
              <a:ext uri="{FF2B5EF4-FFF2-40B4-BE49-F238E27FC236}">
                <a16:creationId xmlns:a16="http://schemas.microsoft.com/office/drawing/2014/main" id="{57FF61BE-523E-4F7B-A29A-7C31C0BF48E4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0285898" y="6047780"/>
            <a:ext cx="1677502" cy="632742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652B9AE2-D2B8-4513-9EC0-33D8F24989B7}"/>
              </a:ext>
            </a:extLst>
          </p:cNvPr>
          <p:cNvSpPr/>
          <p:nvPr/>
        </p:nvSpPr>
        <p:spPr>
          <a:xfrm>
            <a:off x="571264" y="6225651"/>
            <a:ext cx="80012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1" u="none" strike="noStrike" kern="1200" cap="none" spc="0" normalizeH="0" baseline="0" noProof="0">
                <a:ln>
                  <a:noFill/>
                </a:ln>
                <a:solidFill>
                  <a:srgbClr val="385620"/>
                </a:solidFill>
                <a:effectLst/>
                <a:uLnTx/>
                <a:uFillTx/>
                <a:latin typeface="Open Sans" panose="020B0606030504020204"/>
                <a:ea typeface="+mn-ea"/>
                <a:cs typeface="+mn-cs"/>
              </a:rPr>
              <a:t>“Existimos no solo para producir aceite… cultivamos desarrollo sostenible para transformar vidas.”</a:t>
            </a:r>
            <a:endParaRPr kumimoji="0" lang="es-PE" sz="1200" b="1" i="1" u="none" strike="noStrike" kern="1200" cap="none" spc="0" normalizeH="0" baseline="0" noProof="0">
              <a:ln>
                <a:noFill/>
              </a:ln>
              <a:solidFill>
                <a:srgbClr val="385620"/>
              </a:solidFill>
              <a:effectLst/>
              <a:uLnTx/>
              <a:uFillTx/>
              <a:latin typeface="Open Sans" panose="020B0606030504020204"/>
              <a:ea typeface="+mn-ea"/>
              <a:cs typeface="+mn-cs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321882" y="2581209"/>
            <a:ext cx="209544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4000">
                <a:solidFill>
                  <a:schemeClr val="bg1"/>
                </a:solidFill>
              </a:rPr>
              <a:t>Gracias.</a:t>
            </a:r>
            <a:endParaRPr lang="es-PE" sz="4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0603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126</TotalTime>
  <Words>205</Words>
  <Application>Microsoft Office PowerPoint</Application>
  <PresentationFormat>Panorámica</PresentationFormat>
  <Paragraphs>46</Paragraphs>
  <Slides>6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6</vt:i4>
      </vt:variant>
    </vt:vector>
  </HeadingPairs>
  <TitlesOfParts>
    <vt:vector size="18" baseType="lpstr">
      <vt:lpstr>Aptos</vt:lpstr>
      <vt:lpstr>Aptos Display</vt:lpstr>
      <vt:lpstr>Arial</vt:lpstr>
      <vt:lpstr>Arial Narow</vt:lpstr>
      <vt:lpstr>Calibri</vt:lpstr>
      <vt:lpstr>Calibri Light</vt:lpstr>
      <vt:lpstr>Courier New</vt:lpstr>
      <vt:lpstr>Open Sans</vt:lpstr>
      <vt:lpstr>Open Sans Semibold</vt:lpstr>
      <vt:lpstr>Verdana</vt:lpstr>
      <vt:lpstr>Tema de Office</vt:lpstr>
      <vt:lpstr>Diapositiva de think-cell</vt:lpstr>
      <vt:lpstr>Presentación de PowerPoint</vt:lpstr>
      <vt:lpstr>Presentación de PowerPoint</vt:lpstr>
      <vt:lpstr>Proyecto Analítico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ariables en base de datos</dc:title>
  <dc:creator>Cesar Diaz Huiza</dc:creator>
  <cp:lastModifiedBy>Cesar Manuel Quezada Balcazar</cp:lastModifiedBy>
  <cp:revision>343</cp:revision>
  <dcterms:created xsi:type="dcterms:W3CDTF">2024-07-23T23:07:53Z</dcterms:created>
  <dcterms:modified xsi:type="dcterms:W3CDTF">2024-08-28T22:53:07Z</dcterms:modified>
</cp:coreProperties>
</file>